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7"/>
  </p:notesMasterIdLst>
  <p:handoutMasterIdLst>
    <p:handoutMasterId r:id="rId18"/>
  </p:handoutMasterIdLst>
  <p:sldIdLst>
    <p:sldId id="813" r:id="rId6"/>
    <p:sldId id="400" r:id="rId7"/>
    <p:sldId id="401" r:id="rId8"/>
    <p:sldId id="402" r:id="rId9"/>
    <p:sldId id="403" r:id="rId10"/>
    <p:sldId id="404" r:id="rId11"/>
    <p:sldId id="405" r:id="rId12"/>
    <p:sldId id="406" r:id="rId13"/>
    <p:sldId id="407" r:id="rId14"/>
    <p:sldId id="408" r:id="rId15"/>
    <p:sldId id="397" r:id="rId16"/>
  </p:sldIdLst>
  <p:sldSz cx="9144000" cy="5143500" type="screen16x9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45BA"/>
    <a:srgbClr val="D10077"/>
    <a:srgbClr val="DE7C00"/>
    <a:srgbClr val="15973A"/>
    <a:srgbClr val="269A91"/>
    <a:srgbClr val="9AD7F9"/>
    <a:srgbClr val="00A8EB"/>
    <a:srgbClr val="0077CC"/>
    <a:srgbClr val="00629F"/>
    <a:srgbClr val="0032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67" autoAdjust="0"/>
    <p:restoredTop sz="96327" autoAdjust="0"/>
  </p:normalViewPr>
  <p:slideViewPr>
    <p:cSldViewPr>
      <p:cViewPr varScale="1">
        <p:scale>
          <a:sx n="121" d="100"/>
          <a:sy n="121" d="100"/>
        </p:scale>
        <p:origin x="96" y="516"/>
      </p:cViewPr>
      <p:guideLst/>
    </p:cSldViewPr>
  </p:slideViewPr>
  <p:outlineViewPr>
    <p:cViewPr>
      <p:scale>
        <a:sx n="33" d="100"/>
        <a:sy n="33" d="100"/>
      </p:scale>
      <p:origin x="0" y="-2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5" d="100"/>
        <a:sy n="12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75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ker, Lynn" userId="44a863b1-21bf-476c-a2f4-9f1b1ac51a05" providerId="ADAL" clId="{412656E6-EEEE-4A98-ABF5-488773EB766F}"/>
    <pc:docChg chg="modSld">
      <pc:chgData name="Baker, Lynn" userId="44a863b1-21bf-476c-a2f4-9f1b1ac51a05" providerId="ADAL" clId="{412656E6-EEEE-4A98-ABF5-488773EB766F}" dt="2021-08-24T17:38:19.617" v="6" actId="20577"/>
      <pc:docMkLst>
        <pc:docMk/>
      </pc:docMkLst>
      <pc:sldChg chg="addSp modSp mod">
        <pc:chgData name="Baker, Lynn" userId="44a863b1-21bf-476c-a2f4-9f1b1ac51a05" providerId="ADAL" clId="{412656E6-EEEE-4A98-ABF5-488773EB766F}" dt="2021-08-24T17:38:19.617" v="6" actId="20577"/>
        <pc:sldMkLst>
          <pc:docMk/>
          <pc:sldMk cId="2650541276" sldId="397"/>
        </pc:sldMkLst>
        <pc:spChg chg="add mod">
          <ac:chgData name="Baker, Lynn" userId="44a863b1-21bf-476c-a2f4-9f1b1ac51a05" providerId="ADAL" clId="{412656E6-EEEE-4A98-ABF5-488773EB766F}" dt="2021-08-24T17:38:19.617" v="6" actId="20577"/>
          <ac:spMkLst>
            <pc:docMk/>
            <pc:sldMk cId="2650541276" sldId="397"/>
            <ac:spMk id="6" creationId="{D8A028D8-E8A3-4678-900F-663EDE425205}"/>
          </ac:spMkLst>
        </pc:spChg>
        <pc:picChg chg="mod">
          <ac:chgData name="Baker, Lynn" userId="44a863b1-21bf-476c-a2f4-9f1b1ac51a05" providerId="ADAL" clId="{412656E6-EEEE-4A98-ABF5-488773EB766F}" dt="2021-08-24T17:37:12.118" v="4" actId="1035"/>
          <ac:picMkLst>
            <pc:docMk/>
            <pc:sldMk cId="2650541276" sldId="397"/>
            <ac:picMk id="5" creationId="{C47857C0-93E1-4849-8155-BD0D3F7EDB7E}"/>
          </ac:picMkLst>
        </pc:picChg>
        <pc:picChg chg="mod">
          <ac:chgData name="Baker, Lynn" userId="44a863b1-21bf-476c-a2f4-9f1b1ac51a05" providerId="ADAL" clId="{412656E6-EEEE-4A98-ABF5-488773EB766F}" dt="2021-08-24T17:37:12.118" v="4" actId="1035"/>
          <ac:picMkLst>
            <pc:docMk/>
            <pc:sldMk cId="2650541276" sldId="397"/>
            <ac:picMk id="18" creationId="{19DBB79F-AAB0-5F42-9C6E-859A6D21082F}"/>
          </ac:picMkLst>
        </pc:picChg>
      </pc:sldChg>
      <pc:sldChg chg="modSp mod">
        <pc:chgData name="Baker, Lynn" userId="44a863b1-21bf-476c-a2f4-9f1b1ac51a05" providerId="ADAL" clId="{412656E6-EEEE-4A98-ABF5-488773EB766F}" dt="2021-08-24T17:36:05.276" v="0" actId="20577"/>
        <pc:sldMkLst>
          <pc:docMk/>
          <pc:sldMk cId="2138602675" sldId="405"/>
        </pc:sldMkLst>
        <pc:spChg chg="mod">
          <ac:chgData name="Baker, Lynn" userId="44a863b1-21bf-476c-a2f4-9f1b1ac51a05" providerId="ADAL" clId="{412656E6-EEEE-4A98-ABF5-488773EB766F}" dt="2021-08-24T17:36:05.276" v="0" actId="20577"/>
          <ac:spMkLst>
            <pc:docMk/>
            <pc:sldMk cId="2138602675" sldId="405"/>
            <ac:spMk id="12" creationId="{C3F21391-2593-D743-82AE-67F3FE37A18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24-08-2021</a:t>
            </a:fld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8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9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1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3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8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4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0" y="0"/>
            <a:ext cx="5889129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</a:t>
            </a:r>
            <a:r>
              <a:rPr lang="en-GB" b="0" i="0" dirty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6" y="4719600"/>
            <a:ext cx="1064563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78000"/>
            <a:ext cx="2627313" cy="4320000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23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16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75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01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66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4511675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1213" y="376238"/>
            <a:ext cx="3406776" cy="82708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1212" y="1211264"/>
            <a:ext cx="4016375" cy="3484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159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3200" y="0"/>
            <a:ext cx="45108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8"/>
            <a:ext cx="3997325" cy="827999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4"/>
            <a:ext cx="3997325" cy="3484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767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1" y="0"/>
            <a:ext cx="5889128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</a:t>
            </a:r>
            <a:r>
              <a:rPr lang="en-GB" b="0" i="0" dirty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7" y="4719600"/>
            <a:ext cx="1064562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9"/>
            <a:ext cx="2628901" cy="827999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3"/>
            <a:ext cx="2628901" cy="3484562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475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3238" y="1211263"/>
            <a:ext cx="81252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NL" dirty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352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03237" y="1211263"/>
            <a:ext cx="5380037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icture 882 x </a:t>
            </a:r>
            <a:r>
              <a:rPr lang="en-NL" dirty="0"/>
              <a:t>572 px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07100" y="1211263"/>
            <a:ext cx="2633663" cy="348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2956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2788" y="1211263"/>
            <a:ext cx="53784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dirty="0"/>
              <a:t>Insert picture 882 x </a:t>
            </a:r>
            <a:r>
              <a:rPr lang="en-NL" dirty="0"/>
              <a:t>572 px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9" y="1211263"/>
            <a:ext cx="2628900" cy="348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7974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2902" y="1211263"/>
            <a:ext cx="4003199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NL" dirty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3200" y="1211263"/>
            <a:ext cx="4004388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NL" dirty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2901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33200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997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30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C2815B-2D21-594A-B627-9046569E9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34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2771800" y="2571750"/>
            <a:ext cx="3240360" cy="1008112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17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0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78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95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516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041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91636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670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91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284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2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03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20501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76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7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5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03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561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5035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0227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83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5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1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96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38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447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2360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88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07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91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19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246373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9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471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94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8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777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47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11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17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dirty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8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40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en-NL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7889640" y="4719600"/>
            <a:ext cx="1063904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894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1500 x 843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8510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29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78" r:id="rId3"/>
    <p:sldLayoutId id="2147483860" r:id="rId4"/>
    <p:sldLayoutId id="2147483955" r:id="rId5"/>
    <p:sldLayoutId id="2147483692" r:id="rId6"/>
    <p:sldLayoutId id="2147484176" r:id="rId7"/>
    <p:sldLayoutId id="2147483862" r:id="rId8"/>
    <p:sldLayoutId id="2147483948" r:id="rId9"/>
    <p:sldLayoutId id="2147483871" r:id="rId10"/>
    <p:sldLayoutId id="2147483866" r:id="rId11"/>
    <p:sldLayoutId id="2147483975" r:id="rId12"/>
    <p:sldLayoutId id="2147483867" r:id="rId13"/>
    <p:sldLayoutId id="2147483976" r:id="rId14"/>
    <p:sldLayoutId id="2147483984" r:id="rId15"/>
    <p:sldLayoutId id="2147483933" r:id="rId16"/>
    <p:sldLayoutId id="2147483869" r:id="rId17"/>
    <p:sldLayoutId id="2147483939" r:id="rId18"/>
    <p:sldLayoutId id="2147483936" r:id="rId19"/>
    <p:sldLayoutId id="2147483937" r:id="rId20"/>
    <p:sldLayoutId id="2147483938" r:id="rId21"/>
    <p:sldLayoutId id="2147484177" r:id="rId22"/>
    <p:sldLayoutId id="2147484146" r:id="rId23"/>
    <p:sldLayoutId id="2147484184" r:id="rId24"/>
    <p:sldLayoutId id="2147483918" r:id="rId25"/>
    <p:sldLayoutId id="2147483742" r:id="rId26"/>
    <p:sldLayoutId id="2147483766" r:id="rId27"/>
    <p:sldLayoutId id="2147484171" r:id="rId28"/>
    <p:sldLayoutId id="2147484149" r:id="rId29"/>
    <p:sldLayoutId id="2147484183" r:id="rId30"/>
    <p:sldLayoutId id="2147484095" r:id="rId31"/>
    <p:sldLayoutId id="2147484093" r:id="rId32"/>
    <p:sldLayoutId id="2147484100" r:id="rId33"/>
    <p:sldLayoutId id="2147484172" r:id="rId34"/>
    <p:sldLayoutId id="2147484152" r:id="rId35"/>
    <p:sldLayoutId id="2147484182" r:id="rId36"/>
    <p:sldLayoutId id="2147484107" r:id="rId37"/>
    <p:sldLayoutId id="2147484105" r:id="rId38"/>
    <p:sldLayoutId id="2147484109" r:id="rId39"/>
    <p:sldLayoutId id="2147484173" r:id="rId40"/>
    <p:sldLayoutId id="2147484155" r:id="rId41"/>
    <p:sldLayoutId id="2147484181" r:id="rId42"/>
    <p:sldLayoutId id="2147484116" r:id="rId43"/>
    <p:sldLayoutId id="2147484114" r:id="rId44"/>
    <p:sldLayoutId id="2147484118" r:id="rId45"/>
    <p:sldLayoutId id="2147484174" r:id="rId46"/>
    <p:sldLayoutId id="2147484158" r:id="rId47"/>
    <p:sldLayoutId id="2147484180" r:id="rId48"/>
    <p:sldLayoutId id="2147484125" r:id="rId49"/>
    <p:sldLayoutId id="2147484123" r:id="rId50"/>
    <p:sldLayoutId id="2147484127" r:id="rId51"/>
    <p:sldLayoutId id="2147484175" r:id="rId52"/>
    <p:sldLayoutId id="2147484160" r:id="rId53"/>
    <p:sldLayoutId id="2147484179" r:id="rId54"/>
    <p:sldLayoutId id="2147484134" r:id="rId55"/>
    <p:sldLayoutId id="2147484132" r:id="rId56"/>
    <p:sldLayoutId id="2147484136" r:id="rId57"/>
    <p:sldLayoutId id="2147484185" r:id="rId58"/>
    <p:sldLayoutId id="2147484186" r:id="rId59"/>
    <p:sldLayoutId id="2147484187" r:id="rId60"/>
    <p:sldLayoutId id="2147484188" r:id="rId61"/>
    <p:sldLayoutId id="2147484189" r:id="rId62"/>
    <p:sldLayoutId id="2147484190" r:id="rId63"/>
    <p:sldLayoutId id="2147484169" r:id="rId64"/>
    <p:sldLayoutId id="2147484142" r:id="rId65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 userDrawn="1">
          <p15:clr>
            <a:srgbClr val="A4A3A4"/>
          </p15:clr>
        </p15:guide>
        <p15:guide id="14" pos="284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E3240F-8634-1D4E-83AC-4D20B6B21E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June 202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C0C9AA-8C37-EE45-82A5-E17309C2F3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effectLst>
                  <a:outerShdw blurRad="215900" dist="38100" dir="2700000" algn="tl" rotWithShape="0">
                    <a:prstClr val="black">
                      <a:alpha val="8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Philips </a:t>
            </a:r>
            <a:r>
              <a:rPr lang="en-US" dirty="0" err="1">
                <a:effectLst>
                  <a:outerShdw blurRad="215900" dist="38100" dir="2700000" algn="tl" rotWithShape="0">
                    <a:prstClr val="black">
                      <a:alpha val="8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HeartStart</a:t>
            </a:r>
            <a:r>
              <a:rPr lang="en-US" dirty="0">
                <a:effectLst>
                  <a:outerShdw blurRad="215900" dist="38100" dir="2700000" algn="tl" rotWithShape="0">
                    <a:prstClr val="black">
                      <a:alpha val="8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>
                  <a:outerShdw blurRad="215900" dist="38100" dir="2700000" algn="tl" rotWithShape="0">
                    <a:prstClr val="black">
                      <a:alpha val="8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FRx</a:t>
            </a:r>
            <a:r>
              <a:rPr lang="en-US" dirty="0">
                <a:effectLst>
                  <a:outerShdw blurRad="215900" dist="38100" dir="2700000" algn="tl" rotWithShape="0">
                    <a:prstClr val="black">
                      <a:alpha val="8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AED</a:t>
            </a:r>
            <a:br>
              <a:rPr lang="en-US" dirty="0">
                <a:effectLst>
                  <a:outerShdw blurRad="215900" dist="38100" dir="2700000" algn="tl" rotWithShape="0">
                    <a:prstClr val="black">
                      <a:alpha val="8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dirty="0">
              <a:effectLst>
                <a:outerShdw blurRad="215900" dist="38100" dir="2700000" algn="tl" rotWithShape="0">
                  <a:prstClr val="black">
                    <a:alpha val="80000"/>
                  </a:prst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9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4" descr="A picture containing person, indoor, sitting, man&#10;&#10;Description automatically generated">
            <a:extLst>
              <a:ext uri="{FF2B5EF4-FFF2-40B4-BE49-F238E27FC236}">
                <a16:creationId xmlns:a16="http://schemas.microsoft.com/office/drawing/2014/main" id="{CCF358DB-5051-2F46-862D-032E1B57C4C2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</p:spPr>
      </p:pic>
      <p:sp>
        <p:nvSpPr>
          <p:cNvPr id="10" name="Google Shape;503;p7">
            <a:extLst>
              <a:ext uri="{FF2B5EF4-FFF2-40B4-BE49-F238E27FC236}">
                <a16:creationId xmlns:a16="http://schemas.microsoft.com/office/drawing/2014/main" id="{4E5E2BF3-E880-EB46-ABBA-90FA7AF0F3C7}"/>
              </a:ext>
            </a:extLst>
          </p:cNvPr>
          <p:cNvSpPr txBox="1"/>
          <p:nvPr/>
        </p:nvSpPr>
        <p:spPr>
          <a:xfrm>
            <a:off x="3276600" y="1858688"/>
            <a:ext cx="4613492" cy="72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0" i="0" u="none" strike="noStrike" cap="none" dirty="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rPr>
              <a:t>When every minute counts, </a:t>
            </a:r>
            <a:br>
              <a:rPr lang="en-US" sz="2200" b="0" i="0" u="none" strike="noStrike" cap="none" dirty="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200" b="0" i="0" u="none" strike="noStrike" cap="none" dirty="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rPr>
              <a:t>Philips AED Solutions are</a:t>
            </a:r>
            <a:br>
              <a:rPr lang="en-US" sz="2200" b="0" i="0" u="none" strike="noStrike" cap="none" dirty="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2200" b="0" i="0" u="none" strike="noStrike" cap="none" dirty="0">
              <a:solidFill>
                <a:schemeClr val="l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504;p7">
            <a:extLst>
              <a:ext uri="{FF2B5EF4-FFF2-40B4-BE49-F238E27FC236}">
                <a16:creationId xmlns:a16="http://schemas.microsoft.com/office/drawing/2014/main" id="{4F753189-8C1F-374C-B1D6-9546942B2B6D}"/>
              </a:ext>
            </a:extLst>
          </p:cNvPr>
          <p:cNvSpPr txBox="1"/>
          <p:nvPr/>
        </p:nvSpPr>
        <p:spPr>
          <a:xfrm>
            <a:off x="3326824" y="3263715"/>
            <a:ext cx="5568832" cy="1847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R="0" lvl="0" algn="l" rtl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tabLst>
                <a:tab pos="1881188" algn="l"/>
              </a:tabLst>
            </a:pPr>
            <a:r>
              <a:rPr lang="en-US" sz="2200" u="none" strike="noStrike" cap="none" dirty="0">
                <a:solidFill>
                  <a:schemeClr val="lt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With expert guidance and support, </a:t>
            </a:r>
            <a:br>
              <a:rPr lang="en-US" sz="2200" u="none" strike="noStrike" cap="none" dirty="0">
                <a:solidFill>
                  <a:schemeClr val="lt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sz="2200" u="none" strike="noStrike" cap="none" dirty="0">
                <a:solidFill>
                  <a:schemeClr val="lt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hilips AED Solutions are here </a:t>
            </a:r>
            <a:br>
              <a:rPr lang="en-US" sz="2200" u="none" strike="noStrike" cap="none" dirty="0">
                <a:solidFill>
                  <a:schemeClr val="lt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sz="2200" u="none" strike="noStrike" cap="none" dirty="0">
                <a:solidFill>
                  <a:schemeClr val="lt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when you need us most.</a:t>
            </a:r>
            <a:r>
              <a:rPr sz="220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 </a:t>
            </a:r>
            <a:br>
              <a:rPr lang="en-US" sz="2200" dirty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</a:br>
            <a:r>
              <a:rPr lang="en-US" sz="2200" u="none" strike="noStrike" cap="none" dirty="0">
                <a:solidFill>
                  <a:schemeClr val="lt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ide by side. Step by step.</a:t>
            </a:r>
            <a:endParaRPr sz="2200" u="none" strike="noStrike" cap="none" dirty="0">
              <a:solidFill>
                <a:srgbClr val="000000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Google Shape;505;p7">
            <a:extLst>
              <a:ext uri="{FF2B5EF4-FFF2-40B4-BE49-F238E27FC236}">
                <a16:creationId xmlns:a16="http://schemas.microsoft.com/office/drawing/2014/main" id="{916E3FA1-81F9-E54A-B3E7-9D14BC391D76}"/>
              </a:ext>
            </a:extLst>
          </p:cNvPr>
          <p:cNvSpPr txBox="1"/>
          <p:nvPr/>
        </p:nvSpPr>
        <p:spPr>
          <a:xfrm>
            <a:off x="3326824" y="2436362"/>
            <a:ext cx="5157851" cy="7788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Arial"/>
              <a:buNone/>
            </a:pPr>
            <a:r>
              <a:rPr lang="en-US" sz="3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 partner by your side.</a:t>
            </a:r>
            <a:endParaRPr sz="3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4BC708-A5F9-0049-8CD2-B57559FDB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A8FB4C-3894-B849-93C6-9C00C88EE6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93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50B9645-7EAE-AE4A-B2BC-6C4A343317E9}"/>
              </a:ext>
            </a:extLst>
          </p:cNvPr>
          <p:cNvSpPr txBox="1"/>
          <p:nvPr/>
        </p:nvSpPr>
        <p:spPr>
          <a:xfrm>
            <a:off x="6932142" y="4659682"/>
            <a:ext cx="20211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4522 991 64091 * JUNE 202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7857C0-93E1-4849-8155-BD0D3F7EDB7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9520" y="3833324"/>
            <a:ext cx="2506178" cy="74820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9DBB79F-AAB0-5F42-9C6E-859A6D2108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715" t="81178" r="34468" b="12153"/>
          <a:stretch/>
        </p:blipFill>
        <p:spPr>
          <a:xfrm>
            <a:off x="190708" y="3257550"/>
            <a:ext cx="2740911" cy="5757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8A028D8-E8A3-4678-900F-663EDE425205}"/>
              </a:ext>
            </a:extLst>
          </p:cNvPr>
          <p:cNvSpPr/>
          <p:nvPr/>
        </p:nvSpPr>
        <p:spPr>
          <a:xfrm>
            <a:off x="282463" y="4426829"/>
            <a:ext cx="3249605" cy="41549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de-DE"/>
            </a:defPPr>
            <a:lvl1pPr marL="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2021 </a:t>
            </a:r>
            <a:r>
              <a:rPr lang="en-US" sz="7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inklijke</a:t>
            </a: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hilips N.V. All rights reserved. Specifications are subject to change without notice. Trademarks are the property of </a:t>
            </a:r>
            <a:r>
              <a:rPr lang="en-US" sz="7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inklijke</a:t>
            </a: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hilips N.V. </a:t>
            </a:r>
            <a:b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their respective owners.</a:t>
            </a:r>
          </a:p>
        </p:txBody>
      </p:sp>
    </p:spTree>
    <p:extLst>
      <p:ext uri="{BB962C8B-B14F-4D97-AF65-F5344CB8AC3E}">
        <p14:creationId xmlns:p14="http://schemas.microsoft.com/office/powerpoint/2010/main" val="26505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453516-47E5-2E47-B693-539F7BE158A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4F566B34-9E3D-C440-9237-7EE62ADBF166}"/>
              </a:ext>
            </a:extLst>
          </p:cNvPr>
          <p:cNvSpPr txBox="1">
            <a:spLocks/>
          </p:cNvSpPr>
          <p:nvPr/>
        </p:nvSpPr>
        <p:spPr>
          <a:xfrm>
            <a:off x="504826" y="380999"/>
            <a:ext cx="4535575" cy="698501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kern="1200" smtClean="0">
                <a:solidFill>
                  <a:srgbClr val="00629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help save a life</a:t>
            </a:r>
            <a:endParaRPr lang="en-US" sz="2800" dirty="0">
              <a:solidFill>
                <a:srgbClr val="0070C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9DF3B31-66F3-B742-939C-9A2CD7BD08B5}"/>
              </a:ext>
            </a:extLst>
          </p:cNvPr>
          <p:cNvSpPr txBox="1">
            <a:spLocks/>
          </p:cNvSpPr>
          <p:nvPr/>
        </p:nvSpPr>
        <p:spPr>
          <a:xfrm>
            <a:off x="504825" y="1138845"/>
            <a:ext cx="4535576" cy="2925156"/>
          </a:xfrm>
          <a:prstGeom prst="rect">
            <a:avLst/>
          </a:prstGeom>
        </p:spPr>
        <p:txBody>
          <a:bodyPr/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SzPts val="1400"/>
              <a:buNone/>
            </a:pP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vascular disease is a leading cause of global mortality, accounting for almost 17 million deaths annually, or 30% of all global mortality.</a:t>
            </a:r>
            <a:r>
              <a:rPr lang="en-US" sz="13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 </a:t>
            </a:r>
          </a:p>
          <a:p>
            <a:pPr marL="0" lvl="0" indent="0">
              <a:buSzPts val="1400"/>
              <a:buNone/>
            </a:pPr>
            <a:b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basic life support (BLS) trained responders, there’s nothing more important than saving lives. When the need arises, it is important to quickly and confidently assess many unknowns. </a:t>
            </a:r>
          </a:p>
          <a:p>
            <a:pPr marL="0" lvl="0" indent="0">
              <a:buSzPts val="1400"/>
              <a:buNone/>
            </a:pP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What is the patient’s condition? </a:t>
            </a:r>
          </a:p>
          <a:p>
            <a:pPr marL="0" lvl="0" indent="0">
              <a:buSzPts val="1400"/>
              <a:buNone/>
            </a:pP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What is the environment like? </a:t>
            </a:r>
          </a:p>
          <a:p>
            <a:pPr marL="0" lvl="0" indent="0">
              <a:buSzPts val="1400"/>
              <a:buNone/>
            </a:pP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What is the treatment protocol? </a:t>
            </a:r>
          </a:p>
          <a:p>
            <a:pPr marL="0" indent="0">
              <a:buSzPts val="1400"/>
              <a:buNone/>
            </a:pPr>
            <a:b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 is crucial that automated external defibrillators (AEDs) </a:t>
            </a:r>
            <a:b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close at hand, ready to go, designed to be easy to use, lightweight and rugged.</a:t>
            </a:r>
          </a:p>
        </p:txBody>
      </p:sp>
      <p:sp>
        <p:nvSpPr>
          <p:cNvPr id="13" name="Google Shape;449;p2">
            <a:extLst>
              <a:ext uri="{FF2B5EF4-FFF2-40B4-BE49-F238E27FC236}">
                <a16:creationId xmlns:a16="http://schemas.microsoft.com/office/drawing/2014/main" id="{C105B57E-B81D-A246-8C23-8222C88EF926}"/>
              </a:ext>
            </a:extLst>
          </p:cNvPr>
          <p:cNvSpPr txBox="1"/>
          <p:nvPr/>
        </p:nvSpPr>
        <p:spPr>
          <a:xfrm>
            <a:off x="470534" y="4407123"/>
            <a:ext cx="4981575" cy="241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1.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hra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. Global public health problems of sudden cardiac death. Journal of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ocardiology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07;40(6 Suppl);S118–122. </a:t>
            </a:r>
            <a:b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DOI: 10.1016/jelectrocard.2007.06.023.</a:t>
            </a:r>
          </a:p>
        </p:txBody>
      </p:sp>
      <p:pic>
        <p:nvPicPr>
          <p:cNvPr id="8" name="Picture Placeholder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5A8D0A60-F981-604B-92A8-14D5E4F6294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51500" y="4572"/>
            <a:ext cx="3492500" cy="513892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C34EEA-515E-9747-A6D6-5A49112EBA7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77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0" descr="A person sitting on the ground&#10;&#10;Description automatically generated">
            <a:extLst>
              <a:ext uri="{FF2B5EF4-FFF2-40B4-BE49-F238E27FC236}">
                <a16:creationId xmlns:a16="http://schemas.microsoft.com/office/drawing/2014/main" id="{E4581F68-24AC-644F-9D54-5E6F0D5F71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72"/>
            <a:ext cx="3492500" cy="513892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B41954-EC23-7042-887B-483B5B7566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>
                <a:solidFill>
                  <a:schemeClr val="bg1"/>
                </a:solidFill>
              </a:rPr>
              <a:pPr/>
              <a:t>3</a:t>
            </a:fld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A740C980-4300-FD48-87F1-6F0E8531A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5936" y="380999"/>
            <a:ext cx="4032052" cy="698501"/>
          </a:xfrm>
        </p:spPr>
        <p:txBody>
          <a:bodyPr>
            <a:noAutofit/>
          </a:bodyPr>
          <a:lstStyle/>
          <a:p>
            <a:pPr>
              <a:lnSpc>
                <a:spcPts val="3000"/>
              </a:lnSpc>
            </a:pPr>
            <a:r>
              <a:rPr lang="en-US" sz="28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ery minute counts when it comes to saving lives</a:t>
            </a:r>
            <a:endParaRPr lang="en-US" sz="2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FE11114-0481-0146-9057-645ADD42E396}"/>
              </a:ext>
            </a:extLst>
          </p:cNvPr>
          <p:cNvSpPr txBox="1">
            <a:spLocks/>
          </p:cNvSpPr>
          <p:nvPr/>
        </p:nvSpPr>
        <p:spPr>
          <a:xfrm>
            <a:off x="3995936" y="1428750"/>
            <a:ext cx="4975677" cy="2731410"/>
          </a:xfrm>
          <a:prstGeom prst="rect">
            <a:avLst/>
          </a:prstGeom>
        </p:spPr>
        <p:txBody>
          <a:bodyPr lIns="0" tIns="0" bIns="0"/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survival rate from sudden cardiac arrest (SCA) is less than 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% worldwide and close to 5% in the United States.</a:t>
            </a:r>
            <a:r>
              <a:rPr lang="en-US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re than 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alf the victims of the most common cause of SCA can survive 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en treated with CPR and shock from a defibrillator within 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ree to five minutes of collapse.</a:t>
            </a:r>
            <a:r>
              <a:rPr lang="en-US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lnSpc>
                <a:spcPts val="16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lnSpc>
                <a:spcPts val="1600"/>
              </a:lnSpc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Philips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eartStart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FRx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ED guides you through a cardiac 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ergency with a simple, step-by-step process, adaptive instructions and intelligent sensors to help deliver therapy. </a:t>
            </a:r>
          </a:p>
          <a:p>
            <a:pPr marL="0" indent="0">
              <a:lnSpc>
                <a:spcPts val="16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lnSpc>
                <a:spcPts val="1600"/>
              </a:lnSpc>
              <a:buNone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hilips AED Solutions are designed for ease of use and reliability, with practical, real-time voice guidance – all brought to you by Philips, the trusted global leader in emergency care resuscitation.</a:t>
            </a:r>
          </a:p>
        </p:txBody>
      </p:sp>
      <p:sp>
        <p:nvSpPr>
          <p:cNvPr id="10" name="Google Shape;461;p3">
            <a:extLst>
              <a:ext uri="{FF2B5EF4-FFF2-40B4-BE49-F238E27FC236}">
                <a16:creationId xmlns:a16="http://schemas.microsoft.com/office/drawing/2014/main" id="{D30609DD-1428-CB47-8E64-B8062EB4DC21}"/>
              </a:ext>
            </a:extLst>
          </p:cNvPr>
          <p:cNvSpPr txBox="1"/>
          <p:nvPr/>
        </p:nvSpPr>
        <p:spPr>
          <a:xfrm>
            <a:off x="3851251" y="4303629"/>
            <a:ext cx="5145300" cy="6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ts val="800"/>
              </a:lnSpc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2.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hra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. Global public health problems of sudden cardiac death. Journal of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ocardiology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07;40(6 Suppl):S118–122. </a:t>
            </a:r>
            <a:b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DOI: 10.1016/j.electrocard.2007.06.023.</a:t>
            </a:r>
          </a:p>
          <a:p>
            <a:pPr marL="0" lvl="0" indent="0" algn="l" rtl="0">
              <a:lnSpc>
                <a:spcPts val="8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3.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Koster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 RW,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Baubin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 MA,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Bossaert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 LL, et al. European Resuscitation Council Guidelines for Resuscitation 2010: Section 2. </a:t>
            </a:r>
            <a:b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</a:b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    Adult basic life support and use of automated external defibrillators. Resuscitation. 2010;81(10):1277-1292.</a:t>
            </a:r>
            <a:endParaRPr sz="7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Nunito"/>
              <a:cs typeface="Calibri" panose="020F0502020204030204" pitchFamily="34" charset="0"/>
              <a:sym typeface="Nuni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7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Nunito"/>
              <a:cs typeface="Calibri" panose="020F0502020204030204" pitchFamily="34" charset="0"/>
              <a:sym typeface="Nunito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757D83-E3A2-234D-9364-84C8D6835561}"/>
              </a:ext>
            </a:extLst>
          </p:cNvPr>
          <p:cNvSpPr/>
          <p:nvPr/>
        </p:nvSpPr>
        <p:spPr>
          <a:xfrm>
            <a:off x="8027988" y="4864360"/>
            <a:ext cx="1116012" cy="27914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6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8" descr="A person wearing a hat sitting on a table&#10;&#10;Description automatically generated">
            <a:extLst>
              <a:ext uri="{FF2B5EF4-FFF2-40B4-BE49-F238E27FC236}">
                <a16:creationId xmlns:a16="http://schemas.microsoft.com/office/drawing/2014/main" id="{50D61D1E-A3AC-644B-9BD4-28327E640B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E9963D7-8B0D-6B44-982A-33705B1FBA93}"/>
              </a:ext>
            </a:extLst>
          </p:cNvPr>
          <p:cNvSpPr/>
          <p:nvPr/>
        </p:nvSpPr>
        <p:spPr>
          <a:xfrm>
            <a:off x="5791200" y="0"/>
            <a:ext cx="3352800" cy="5143500"/>
          </a:xfrm>
          <a:prstGeom prst="rect">
            <a:avLst/>
          </a:prstGeom>
          <a:solidFill>
            <a:srgbClr val="0089C4">
              <a:alpha val="85000"/>
            </a:srgbClr>
          </a:solidFill>
          <a:ln w="25400" cap="flat" cmpd="sng" algn="ctr">
            <a:solidFill>
              <a:srgbClr val="0089C4">
                <a:alpha val="85500"/>
              </a:srgb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046B51-309B-9445-86B4-0CF9C928073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5163908-529D-4A49-892F-D37C4044DFD8}" type="slidenum">
              <a:rPr lang="en-IN" smtClean="0">
                <a:solidFill>
                  <a:schemeClr val="bg1"/>
                </a:solidFill>
              </a:rPr>
              <a:pPr/>
              <a:t>4</a:t>
            </a:fld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6F2DAEF-0C82-444C-A722-BB94E17A261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B1FB1AF-E263-4E48-9C3F-AA6E7EF5EC40}"/>
              </a:ext>
            </a:extLst>
          </p:cNvPr>
          <p:cNvSpPr txBox="1">
            <a:spLocks/>
          </p:cNvSpPr>
          <p:nvPr/>
        </p:nvSpPr>
        <p:spPr>
          <a:xfrm>
            <a:off x="6151419" y="1205345"/>
            <a:ext cx="2784764" cy="3202349"/>
          </a:xfrm>
          <a:prstGeom prst="rect">
            <a:avLst/>
          </a:prstGeom>
        </p:spPr>
        <p:txBody>
          <a:bodyPr/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100"/>
              </a:lnSpc>
              <a:buNone/>
            </a:pPr>
            <a:r>
              <a:rPr lang="en-US" sz="1800" dirty="0">
                <a:solidFill>
                  <a:schemeClr val="bg1"/>
                </a:solidFill>
              </a:rPr>
              <a:t>Philips AED Solutions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partners with you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in the shared mission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of helping to save lives. </a:t>
            </a:r>
          </a:p>
          <a:p>
            <a:pPr marL="0" indent="0">
              <a:lnSpc>
                <a:spcPts val="2100"/>
              </a:lnSpc>
              <a:buNone/>
            </a:pPr>
            <a:r>
              <a:rPr lang="en-US" sz="1800" dirty="0">
                <a:solidFill>
                  <a:schemeClr val="bg1"/>
                </a:solidFill>
              </a:rPr>
              <a:t>Side by side. Step by step. </a:t>
            </a:r>
          </a:p>
          <a:p>
            <a:pPr marL="0" indent="0">
              <a:buNone/>
            </a:pP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ilips </a:t>
            </a:r>
            <a:r>
              <a:rPr lang="en-US" sz="28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rtStart</a:t>
            </a:r>
            <a:r>
              <a:rPr lang="en-US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x</a:t>
            </a:r>
            <a:r>
              <a:rPr lang="en-US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fibrillator</a:t>
            </a:r>
          </a:p>
          <a:p>
            <a:pPr marL="0" indent="0">
              <a:buNone/>
            </a:pP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44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ECBB428F-54E9-C84A-AD75-F0511664E83F}"/>
              </a:ext>
            </a:extLst>
          </p:cNvPr>
          <p:cNvSpPr/>
          <p:nvPr/>
        </p:nvSpPr>
        <p:spPr>
          <a:xfrm>
            <a:off x="4597932" y="0"/>
            <a:ext cx="4546068" cy="5143500"/>
          </a:xfrm>
          <a:prstGeom prst="rect">
            <a:avLst/>
          </a:prstGeom>
          <a:solidFill>
            <a:srgbClr val="0089C4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4A26CF-BBA1-8F41-A059-B1158E86508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5163908-529D-4A49-892F-D37C4044DFD8}" type="slidenum">
              <a:rPr lang="en-IN" smtClean="0">
                <a:solidFill>
                  <a:schemeClr val="tx1"/>
                </a:solidFill>
              </a:rPr>
              <a:pPr/>
              <a:t>5</a:t>
            </a:fld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17264B5-8E85-604D-B5CE-5594A36BD52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ABD82A6-19D3-3E4A-AA81-7470BD81E531}"/>
              </a:ext>
            </a:extLst>
          </p:cNvPr>
          <p:cNvSpPr txBox="1">
            <a:spLocks/>
          </p:cNvSpPr>
          <p:nvPr/>
        </p:nvSpPr>
        <p:spPr>
          <a:xfrm>
            <a:off x="341828" y="251385"/>
            <a:ext cx="2199574" cy="828115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accent1"/>
                </a:solidFill>
              </a:rPr>
              <a:t>Easy as 1-2-3</a:t>
            </a:r>
            <a:endParaRPr lang="en-US" sz="2800" dirty="0"/>
          </a:p>
        </p:txBody>
      </p:sp>
      <p:sp>
        <p:nvSpPr>
          <p:cNvPr id="12" name="Google Shape;514;p5">
            <a:extLst>
              <a:ext uri="{FF2B5EF4-FFF2-40B4-BE49-F238E27FC236}">
                <a16:creationId xmlns:a16="http://schemas.microsoft.com/office/drawing/2014/main" id="{BF9D9B3C-A0E0-F840-860C-980C5108D1DD}"/>
              </a:ext>
            </a:extLst>
          </p:cNvPr>
          <p:cNvSpPr txBox="1"/>
          <p:nvPr/>
        </p:nvSpPr>
        <p:spPr>
          <a:xfrm>
            <a:off x="6314073" y="1264665"/>
            <a:ext cx="2424381" cy="708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>
              <a:lnSpc>
                <a:spcPct val="115000"/>
              </a:lnSpc>
            </a:pPr>
            <a: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Pull the handle on the Cartridge Cover and press the green On/Off button, which activates voice instruction and visual icons</a:t>
            </a:r>
            <a:endParaRPr sz="13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3366E6-374F-6546-AAC0-9EA9899E0E5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203291" y="1264665"/>
            <a:ext cx="914399" cy="7088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B946DA8-EBAF-2346-807B-B7C8867B2A2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249797" y="2309914"/>
            <a:ext cx="914399" cy="70883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85E96B9-171C-3C40-8F5D-83F68BB49A2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249797" y="3355162"/>
            <a:ext cx="914399" cy="708836"/>
          </a:xfrm>
          <a:prstGeom prst="rect">
            <a:avLst/>
          </a:prstGeom>
        </p:spPr>
      </p:pic>
      <p:sp>
        <p:nvSpPr>
          <p:cNvPr id="16" name="Google Shape;514;p5">
            <a:extLst>
              <a:ext uri="{FF2B5EF4-FFF2-40B4-BE49-F238E27FC236}">
                <a16:creationId xmlns:a16="http://schemas.microsoft.com/office/drawing/2014/main" id="{17AF50AE-3AEB-3749-BCC9-B92D7E61C4AA}"/>
              </a:ext>
            </a:extLst>
          </p:cNvPr>
          <p:cNvSpPr txBox="1"/>
          <p:nvPr/>
        </p:nvSpPr>
        <p:spPr>
          <a:xfrm>
            <a:off x="6314073" y="2309914"/>
            <a:ext cx="2503760" cy="708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>
              <a:lnSpc>
                <a:spcPct val="115000"/>
              </a:lnSpc>
            </a:pPr>
            <a: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Place the pads on the patient </a:t>
            </a:r>
            <a:b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</a:br>
            <a: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as directed</a:t>
            </a:r>
            <a:endParaRPr lang="en-US" sz="13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Google Shape;514;p5">
            <a:extLst>
              <a:ext uri="{FF2B5EF4-FFF2-40B4-BE49-F238E27FC236}">
                <a16:creationId xmlns:a16="http://schemas.microsoft.com/office/drawing/2014/main" id="{E9BEF993-36A4-7049-951E-E6CF42C7521C}"/>
              </a:ext>
            </a:extLst>
          </p:cNvPr>
          <p:cNvSpPr txBox="1"/>
          <p:nvPr/>
        </p:nvSpPr>
        <p:spPr>
          <a:xfrm>
            <a:off x="6314073" y="3355163"/>
            <a:ext cx="2503760" cy="708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>
              <a:lnSpc>
                <a:spcPct val="115000"/>
              </a:lnSpc>
            </a:pPr>
            <a: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When advised by the device, </a:t>
            </a:r>
            <a:b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</a:br>
            <a:r>
              <a:rPr lang="en-US" sz="13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press the orange Shock button</a:t>
            </a:r>
            <a:endParaRPr lang="en-US" sz="13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Google Shape;514;p5">
            <a:extLst>
              <a:ext uri="{FF2B5EF4-FFF2-40B4-BE49-F238E27FC236}">
                <a16:creationId xmlns:a16="http://schemas.microsoft.com/office/drawing/2014/main" id="{EE82FDC6-A42E-4940-A729-2C0112CAC191}"/>
              </a:ext>
            </a:extLst>
          </p:cNvPr>
          <p:cNvSpPr txBox="1"/>
          <p:nvPr/>
        </p:nvSpPr>
        <p:spPr>
          <a:xfrm>
            <a:off x="4731026" y="1264665"/>
            <a:ext cx="374073" cy="708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1</a:t>
            </a:r>
            <a:endParaRPr sz="2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Google Shape;514;p5">
            <a:extLst>
              <a:ext uri="{FF2B5EF4-FFF2-40B4-BE49-F238E27FC236}">
                <a16:creationId xmlns:a16="http://schemas.microsoft.com/office/drawing/2014/main" id="{A17465CB-01C6-AB4A-AEA7-DA6ED4B057AA}"/>
              </a:ext>
            </a:extLst>
          </p:cNvPr>
          <p:cNvSpPr txBox="1"/>
          <p:nvPr/>
        </p:nvSpPr>
        <p:spPr>
          <a:xfrm>
            <a:off x="4731026" y="2303756"/>
            <a:ext cx="374073" cy="708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2</a:t>
            </a:r>
            <a:endParaRPr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Google Shape;514;p5">
            <a:extLst>
              <a:ext uri="{FF2B5EF4-FFF2-40B4-BE49-F238E27FC236}">
                <a16:creationId xmlns:a16="http://schemas.microsoft.com/office/drawing/2014/main" id="{E5DCAAD9-676D-BB4B-BB59-47016B45C0C7}"/>
              </a:ext>
            </a:extLst>
          </p:cNvPr>
          <p:cNvSpPr txBox="1"/>
          <p:nvPr/>
        </p:nvSpPr>
        <p:spPr>
          <a:xfrm>
            <a:off x="4731026" y="3370556"/>
            <a:ext cx="374073" cy="708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ea typeface="Nunito"/>
                <a:cs typeface="Calibri" panose="020F0502020204030204" pitchFamily="34" charset="0"/>
                <a:sym typeface="Nunito"/>
              </a:rPr>
              <a:t>3</a:t>
            </a:r>
            <a:endParaRPr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Google Shape;461;p3">
            <a:extLst>
              <a:ext uri="{FF2B5EF4-FFF2-40B4-BE49-F238E27FC236}">
                <a16:creationId xmlns:a16="http://schemas.microsoft.com/office/drawing/2014/main" id="{5087F72C-DE1B-F148-BBDC-8481F54221B0}"/>
              </a:ext>
            </a:extLst>
          </p:cNvPr>
          <p:cNvSpPr txBox="1"/>
          <p:nvPr/>
        </p:nvSpPr>
        <p:spPr>
          <a:xfrm>
            <a:off x="414364" y="4325760"/>
            <a:ext cx="4067174" cy="6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ea typeface="Nunito"/>
                <a:cs typeface="Nunito"/>
                <a:sym typeface="Nunito"/>
              </a:rPr>
              <a:t>4.  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chol G, Sayre MR, Guerra F, Poole J. Defibrillation for Ventricular Fibrillation: A Shocking Update.   </a:t>
            </a:r>
            <a:b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Journal of American College of Cardiology. 2017:70(12):1496–1509. DOI: 10.1016/j.jacc.2017.07.778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700" b="1" dirty="0">
              <a:solidFill>
                <a:srgbClr val="535353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5B2FF7-F8E6-7B48-AA3E-552B1C88EA78}"/>
              </a:ext>
            </a:extLst>
          </p:cNvPr>
          <p:cNvSpPr txBox="1"/>
          <p:nvPr/>
        </p:nvSpPr>
        <p:spPr>
          <a:xfrm>
            <a:off x="504826" y="3472072"/>
            <a:ext cx="37410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ented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ick Shock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eature allows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Rx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typically deliver a shock within eight seconds after CPR.</a:t>
            </a:r>
            <a:r>
              <a:rPr lang="en-US" sz="1400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4" name="Picture 23" descr="A picture containing cellphone, sitting, small, table&#10;&#10;Description automatically generated">
            <a:extLst>
              <a:ext uri="{FF2B5EF4-FFF2-40B4-BE49-F238E27FC236}">
                <a16:creationId xmlns:a16="http://schemas.microsoft.com/office/drawing/2014/main" id="{FFB8C004-1F66-2241-9FE0-A70B364F2E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06" r="3607"/>
          <a:stretch/>
        </p:blipFill>
        <p:spPr>
          <a:xfrm>
            <a:off x="502116" y="1194524"/>
            <a:ext cx="3741005" cy="2325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31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5" descr="A group of people sitting on a rock&#10;&#10;Description automatically generated">
            <a:extLst>
              <a:ext uri="{FF2B5EF4-FFF2-40B4-BE49-F238E27FC236}">
                <a16:creationId xmlns:a16="http://schemas.microsoft.com/office/drawing/2014/main" id="{43ACD86D-A766-AD44-B631-0D5959D34A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B9E55AD1-20AD-3A40-9ED1-30E210456A00}"/>
              </a:ext>
            </a:extLst>
          </p:cNvPr>
          <p:cNvSpPr txBox="1">
            <a:spLocks/>
          </p:cNvSpPr>
          <p:nvPr/>
        </p:nvSpPr>
        <p:spPr>
          <a:xfrm>
            <a:off x="0" y="2390503"/>
            <a:ext cx="4643846" cy="2238647"/>
          </a:xfrm>
          <a:prstGeom prst="rect">
            <a:avLst/>
          </a:prstGeom>
          <a:solidFill>
            <a:srgbClr val="0070C0">
              <a:alpha val="90000"/>
            </a:srgbClr>
          </a:solidFill>
        </p:spPr>
        <p:txBody>
          <a:bodyPr anchor="ctr"/>
          <a:lstStyle>
            <a:lvl1pPr marL="161925" indent="-1619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300"/>
              </a:spcAft>
              <a:buSzPts val="1000"/>
              <a:buNone/>
            </a:pPr>
            <a:endParaRPr lang="en-US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09FE15-5DE0-F54C-A6E1-ACB08709D91D}"/>
              </a:ext>
            </a:extLst>
          </p:cNvPr>
          <p:cNvSpPr txBox="1"/>
          <p:nvPr/>
        </p:nvSpPr>
        <p:spPr>
          <a:xfrm>
            <a:off x="282106" y="2446339"/>
            <a:ext cx="4438996" cy="22698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3000"/>
              </a:lnSpc>
              <a:spcAft>
                <a:spcPts val="300"/>
              </a:spcAft>
              <a:buSzPts val="1000"/>
            </a:pPr>
            <a: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ed to work </a:t>
            </a:r>
            <a:b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re you need it</a:t>
            </a:r>
          </a:p>
          <a:p>
            <a:pPr lvl="0">
              <a:spcAft>
                <a:spcPts val="600"/>
              </a:spcAft>
              <a:buSzPts val="1000"/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ghtweight, rugged and reliable, the </a:t>
            </a:r>
            <a:r>
              <a:rPr lang="en-US" sz="14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x</a:t>
            </a: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fibrillator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withstand rough handling, extreme temperatures,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dusty or wet surfaces. Designed for use in harsh settings, it can withstand up to 500 kg (1,100 </a:t>
            </a:r>
            <a:r>
              <a:rPr lang="en-US" sz="14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b</a:t>
            </a: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drops from 1.2 m (4 ft).</a:t>
            </a:r>
            <a:endParaRPr lang="en-US" sz="1400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endParaRPr lang="en-US" sz="1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C8B4A0-334E-5B45-8811-BF68DB1BA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>
                <a:solidFill>
                  <a:schemeClr val="bg1"/>
                </a:solidFill>
              </a:rPr>
              <a:pPr/>
              <a:t>6</a:t>
            </a:fld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101DF9-F031-7A4A-A104-D83A68B6B5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37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2491AA8E-2A07-C049-B5DC-43AED2650E73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FDA4D4-943B-5145-AEA0-AF910344D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2781440-43F4-0445-8CAD-D0CFD71C0C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F043BA13-AD6E-0E49-933E-277EB4310575}"/>
              </a:ext>
            </a:extLst>
          </p:cNvPr>
          <p:cNvSpPr txBox="1">
            <a:spLocks/>
          </p:cNvSpPr>
          <p:nvPr/>
        </p:nvSpPr>
        <p:spPr>
          <a:xfrm>
            <a:off x="5715000" y="1276351"/>
            <a:ext cx="3429000" cy="3090922"/>
          </a:xfrm>
          <a:prstGeom prst="rect">
            <a:avLst/>
          </a:prstGeom>
          <a:solidFill>
            <a:srgbClr val="0070C0">
              <a:alpha val="85000"/>
            </a:srgbClr>
          </a:solidFill>
        </p:spPr>
        <p:txBody>
          <a:bodyPr anchor="ctr"/>
          <a:lstStyle>
            <a:lvl1pPr marL="161925" indent="-1619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300"/>
              </a:spcAft>
              <a:buSzPts val="1000"/>
              <a:buNone/>
            </a:pPr>
            <a:endParaRPr lang="en-US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F21391-2593-D743-82AE-67F3FE37A18B}"/>
              </a:ext>
            </a:extLst>
          </p:cNvPr>
          <p:cNvSpPr txBox="1"/>
          <p:nvPr/>
        </p:nvSpPr>
        <p:spPr>
          <a:xfrm>
            <a:off x="5943600" y="1504950"/>
            <a:ext cx="2819400" cy="28623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ts val="1000"/>
            </a:pPr>
            <a: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sy to use</a:t>
            </a:r>
          </a:p>
          <a:p>
            <a:pPr indent="0">
              <a:buSzPts val="1000"/>
              <a:buNone/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connected SMART Pads II can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used for both adults and children. Once installed and activated, the </a:t>
            </a:r>
            <a:r>
              <a:rPr lang="en-US" sz="14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x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 easy to maintain. It performs a series of automatic self-tests – daily, weekly and monthly – to check pad readiness and verify functionality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calibration of circuits and systems. It can last up to four years between battery replacements.</a:t>
            </a:r>
            <a:endParaRPr lang="en-US" sz="1400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60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 descr="Two people sitting at a beach&#10;&#10;Description automatically generated">
            <a:extLst>
              <a:ext uri="{FF2B5EF4-FFF2-40B4-BE49-F238E27FC236}">
                <a16:creationId xmlns:a16="http://schemas.microsoft.com/office/drawing/2014/main" id="{4551D17C-B2DA-7546-B20E-55399E57595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428" b="5428"/>
          <a:stretch/>
        </p:blipFill>
        <p:spPr>
          <a:xfrm>
            <a:off x="0" y="0"/>
            <a:ext cx="9144000" cy="5143500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FC57A-869D-AF4F-A577-B7FEF2F89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0188DB8-8F35-E147-B46F-A0ADFD7B01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7C58BB6E-9460-234A-9E1D-6A0B5FD4BB52}"/>
              </a:ext>
            </a:extLst>
          </p:cNvPr>
          <p:cNvSpPr txBox="1">
            <a:spLocks/>
          </p:cNvSpPr>
          <p:nvPr/>
        </p:nvSpPr>
        <p:spPr>
          <a:xfrm>
            <a:off x="0" y="1048279"/>
            <a:ext cx="3810000" cy="2606027"/>
          </a:xfrm>
          <a:prstGeom prst="rect">
            <a:avLst/>
          </a:prstGeom>
          <a:solidFill>
            <a:srgbClr val="0070C0">
              <a:alpha val="75000"/>
            </a:srgbClr>
          </a:solidFill>
        </p:spPr>
        <p:txBody>
          <a:bodyPr anchor="ctr"/>
          <a:lstStyle>
            <a:lvl1pPr marL="161925" indent="-1619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spcAft>
                <a:spcPts val="300"/>
              </a:spcAft>
              <a:buClrTx/>
              <a:buSzPts val="1000"/>
              <a:buNone/>
            </a:pPr>
            <a:endParaRPr lang="en-US" sz="11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31786F-0778-074C-9F60-7483CF2BE611}"/>
              </a:ext>
            </a:extLst>
          </p:cNvPr>
          <p:cNvSpPr txBox="1"/>
          <p:nvPr/>
        </p:nvSpPr>
        <p:spPr>
          <a:xfrm>
            <a:off x="294723" y="1177220"/>
            <a:ext cx="3667677" cy="2598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860"/>
              </a:lnSpc>
              <a:spcAft>
                <a:spcPts val="300"/>
              </a:spcAft>
              <a:buSzPts val="1000"/>
            </a:pPr>
            <a: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ented technology. </a:t>
            </a:r>
            <a:b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en therapy.</a:t>
            </a:r>
          </a:p>
          <a:p>
            <a:pPr>
              <a:buSzPts val="1000"/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ple step-by-step instructions and voice commands are paced to your actions, and an audible metronome and CPR guidance assist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responder. When treating an infant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child, simply insert the optional </a:t>
            </a:r>
            <a: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ant </a:t>
            </a:r>
            <a:b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child key and the </a:t>
            </a:r>
            <a:r>
              <a:rPr lang="en-US" sz="140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x</a:t>
            </a:r>
            <a: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djusts </a:t>
            </a:r>
            <a:b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tructions and therapy.</a:t>
            </a:r>
            <a:endParaRPr lang="en-US" sz="1400" dirty="0">
              <a:solidFill>
                <a:srgbClr val="FFFFFF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301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red suitcase&#10;&#10;Description automatically generated">
            <a:extLst>
              <a:ext uri="{FF2B5EF4-FFF2-40B4-BE49-F238E27FC236}">
                <a16:creationId xmlns:a16="http://schemas.microsoft.com/office/drawing/2014/main" id="{CC95B883-9D4D-C94A-880B-B9CCAEEFB2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492500" cy="513892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CCE1A4-DFBE-7E48-94DD-70EE6FB4859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>
                <a:solidFill>
                  <a:schemeClr val="bg1"/>
                </a:solidFill>
              </a:rPr>
              <a:pPr/>
              <a:t>9</a:t>
            </a:fld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EA97610-4AFD-8F46-A261-3390612A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2806" y="380999"/>
            <a:ext cx="4158508" cy="698501"/>
          </a:xfrm>
        </p:spPr>
        <p:txBody>
          <a:bodyPr/>
          <a:lstStyle/>
          <a:p>
            <a:r>
              <a:rPr lang="en-US" sz="28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pert guidance</a:t>
            </a:r>
            <a:endParaRPr lang="en-US" sz="2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4D2C9C2-F5DB-FB46-B146-6FF5A036617F}"/>
              </a:ext>
            </a:extLst>
          </p:cNvPr>
          <p:cNvSpPr txBox="1">
            <a:spLocks/>
          </p:cNvSpPr>
          <p:nvPr/>
        </p:nvSpPr>
        <p:spPr>
          <a:xfrm>
            <a:off x="3912806" y="1055550"/>
            <a:ext cx="5002594" cy="754200"/>
          </a:xfrm>
          <a:prstGeom prst="rect">
            <a:avLst/>
          </a:prstGeom>
        </p:spPr>
        <p:txBody>
          <a:bodyPr lIns="0" tIns="0" rIns="0" bIns="0"/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solidFill>
                  <a:schemeClr val="accent1"/>
                </a:solidFill>
              </a:rPr>
              <a:t>The Philips </a:t>
            </a:r>
            <a:r>
              <a:rPr lang="en-US" sz="1200" dirty="0" err="1">
                <a:solidFill>
                  <a:schemeClr val="accent1"/>
                </a:solidFill>
              </a:rPr>
              <a:t>HeartStart</a:t>
            </a:r>
            <a:r>
              <a:rPr lang="en-US" sz="1200" dirty="0">
                <a:solidFill>
                  <a:schemeClr val="accent1"/>
                </a:solidFill>
              </a:rPr>
              <a:t> </a:t>
            </a:r>
            <a:r>
              <a:rPr lang="en-US" sz="1200" dirty="0" err="1">
                <a:solidFill>
                  <a:schemeClr val="accent1"/>
                </a:solidFill>
              </a:rPr>
              <a:t>FRx</a:t>
            </a:r>
            <a:r>
              <a:rPr lang="en-US" sz="1200" dirty="0">
                <a:solidFill>
                  <a:schemeClr val="accent1"/>
                </a:solidFill>
              </a:rPr>
              <a:t> defibrillator features intuitive, step-by-step </a:t>
            </a:r>
            <a:br>
              <a:rPr lang="en-US" sz="1200" dirty="0">
                <a:solidFill>
                  <a:schemeClr val="accent1"/>
                </a:solidFill>
              </a:rPr>
            </a:br>
            <a:r>
              <a:rPr lang="en-US" sz="1200" dirty="0">
                <a:solidFill>
                  <a:schemeClr val="accent1"/>
                </a:solidFill>
              </a:rPr>
              <a:t>voice instructions, including CPR guidance, and an audible metronome </a:t>
            </a:r>
            <a:br>
              <a:rPr lang="en-US" sz="1200" dirty="0">
                <a:solidFill>
                  <a:schemeClr val="accent1"/>
                </a:solidFill>
              </a:rPr>
            </a:br>
            <a:r>
              <a:rPr lang="en-US" sz="1200" dirty="0">
                <a:solidFill>
                  <a:schemeClr val="accent1"/>
                </a:solidFill>
              </a:rPr>
              <a:t>to help guide trained responders while treating a suspected cardiac arrest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91C0D-4DA1-F34A-BD54-1B1647FA4324}"/>
              </a:ext>
            </a:extLst>
          </p:cNvPr>
          <p:cNvSpPr/>
          <p:nvPr/>
        </p:nvSpPr>
        <p:spPr>
          <a:xfrm>
            <a:off x="7696200" y="4781550"/>
            <a:ext cx="1447800" cy="34562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Google Shape;494;p6">
            <a:extLst>
              <a:ext uri="{FF2B5EF4-FFF2-40B4-BE49-F238E27FC236}">
                <a16:creationId xmlns:a16="http://schemas.microsoft.com/office/drawing/2014/main" id="{6D84C126-04BE-8F4C-BFE9-0BB8AEC4C90B}"/>
              </a:ext>
            </a:extLst>
          </p:cNvPr>
          <p:cNvSpPr txBox="1">
            <a:spLocks/>
          </p:cNvSpPr>
          <p:nvPr/>
        </p:nvSpPr>
        <p:spPr>
          <a:xfrm>
            <a:off x="3921121" y="1609898"/>
            <a:ext cx="4604172" cy="355265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spcCol="324000" rtlCol="0" anchor="t" anchorCtr="0">
            <a:noAutofit/>
          </a:bodyPr>
          <a:lstStyle>
            <a:lvl1pPr marL="161925" indent="-1619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cludes features to help guide the treatment of SCA with easy setup, audible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ronome and clear, step-by-step voice commands paced to your action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vides CPR instructions for infants and children under 25 kg (55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b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 or 0-8 years old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adults and children over 25 kg (55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b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 or greater than 8 years old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as an optional infant and child key; simply insert it and the defibrillator adjusts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ruction and therapy, eliminating the need for additional infant and child pads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cludes pre-connected SMART Pads II that can be used for both adults and children;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ART Analysis automatically assesses heart rhythm and only delivers a shock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f the victim’s rhythm is determined to be treatable by the Philips advanced algorithm,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ven if the Shock button is pressed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vides adaptive instructions and intelligent sensors to help deliver therapy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s a series of automatic self-tests – daily, weekly and monthly – to check pad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adiness and verify functionality and calibration of circuits and systems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eatures eight realistic SCA scenarios; simply insert the Training Pads II (available separately) to temporarily disable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Rx’s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nergy delivery capability and the defibrillator will switch into training mode</a:t>
            </a:r>
          </a:p>
          <a:p>
            <a:pPr marL="0" indent="0">
              <a:spcBef>
                <a:spcPts val="12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  <a:buNone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ults from case studies are not predictive of results in other cases. Results in other cases may vary.</a:t>
            </a:r>
          </a:p>
          <a:p>
            <a:pPr marL="91440" indent="-9144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ts val="1000"/>
            </a:pP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57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_template_jan21" id="{71BF8A8F-69FF-BC43-A381-4E32B2D530A8}" vid="{22D15F1E-C59B-2948-9432-3F6DDC7A102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e40374fb-a6cc-4854-989f-c1d94a7967ee" ContentTypeId="0x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335BEB4439C146BF4D623A432BF34A" ma:contentTypeVersion="2" ma:contentTypeDescription="Create a new document." ma:contentTypeScope="" ma:versionID="9adf6a29b6daae7324c4a1480e1db70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6760a3896999adf652ead41f23e846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E83D079-7761-4837-B6AD-F2A451A483E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BB8A2A74-A08C-43F4-8135-06DDCD4E4E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A4C6DCBC-A10C-4473-AF48-2D79BA76D9DB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template Jan21</Template>
  <TotalTime>0</TotalTime>
  <Words>1073</Words>
  <Application>Microsoft Office PowerPoint</Application>
  <PresentationFormat>On-screen Show (16:9)</PresentationFormat>
  <Paragraphs>6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Nunito</vt:lpstr>
      <vt:lpstr>OpenSans</vt:lpstr>
      <vt:lpstr>Presentation template Jan21</vt:lpstr>
      <vt:lpstr>think-cell Slide</vt:lpstr>
      <vt:lpstr>PowerPoint Presentation</vt:lpstr>
      <vt:lpstr>PowerPoint Presentation</vt:lpstr>
      <vt:lpstr>Every minute counts when it comes to saving l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pert guidanc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tino Gambardella</dc:creator>
  <cp:lastModifiedBy>Baker, Lynn</cp:lastModifiedBy>
  <cp:revision>35</cp:revision>
  <dcterms:created xsi:type="dcterms:W3CDTF">2021-05-21T17:33:45Z</dcterms:created>
  <dcterms:modified xsi:type="dcterms:W3CDTF">2021-08-24T17:3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335BEB4439C146BF4D623A432BF34A</vt:lpwstr>
  </property>
</Properties>
</file>